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24"/>
  </p:notesMasterIdLst>
  <p:sldIdLst>
    <p:sldId id="257" r:id="rId3"/>
    <p:sldId id="287" r:id="rId4"/>
    <p:sldId id="288" r:id="rId5"/>
    <p:sldId id="289" r:id="rId6"/>
    <p:sldId id="290" r:id="rId7"/>
    <p:sldId id="291" r:id="rId8"/>
    <p:sldId id="292" r:id="rId9"/>
    <p:sldId id="293" r:id="rId10"/>
    <p:sldId id="294" r:id="rId11"/>
    <p:sldId id="295" r:id="rId12"/>
    <p:sldId id="296" r:id="rId13"/>
    <p:sldId id="300" r:id="rId14"/>
    <p:sldId id="301" r:id="rId15"/>
    <p:sldId id="302" r:id="rId16"/>
    <p:sldId id="303" r:id="rId17"/>
    <p:sldId id="304" r:id="rId18"/>
    <p:sldId id="305" r:id="rId19"/>
    <p:sldId id="306" r:id="rId20"/>
    <p:sldId id="307" r:id="rId21"/>
    <p:sldId id="308" r:id="rId22"/>
    <p:sldId id="309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90" d="100"/>
          <a:sy n="90" d="100"/>
        </p:scale>
        <p:origin x="48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ep Reddy Hanumaihgari" userId="86a9f56c-2e65-4a80-9d64-63b9c07412a6" providerId="ADAL" clId="{71B50FF3-AB2A-448E-9D5A-19D618C94357}"/>
  </pc:docChgLst>
  <pc:docChgLst>
    <pc:chgData name="Sandeep Reddy Hanumaihgari" userId="86a9f56c-2e65-4a80-9d64-63b9c07412a6" providerId="ADAL" clId="{860CAC8F-2DFB-4EB7-8F93-2289B55B3A57}"/>
    <pc:docChg chg="undo custSel addSld delSld modSld">
      <pc:chgData name="Sandeep Reddy Hanumaihgari" userId="86a9f56c-2e65-4a80-9d64-63b9c07412a6" providerId="ADAL" clId="{860CAC8F-2DFB-4EB7-8F93-2289B55B3A57}" dt="2018-01-29T04:41:46.430" v="315" actId="2696"/>
      <pc:docMkLst>
        <pc:docMk/>
      </pc:docMkLst>
      <pc:sldChg chg="modSp">
        <pc:chgData name="Sandeep Reddy Hanumaihgari" userId="86a9f56c-2e65-4a80-9d64-63b9c07412a6" providerId="ADAL" clId="{860CAC8F-2DFB-4EB7-8F93-2289B55B3A57}" dt="2018-01-26T05:15:34.325" v="213" actId="20577"/>
        <pc:sldMkLst>
          <pc:docMk/>
          <pc:sldMk cId="147571053" sldId="257"/>
        </pc:sldMkLst>
        <pc:spChg chg="mod">
          <ac:chgData name="Sandeep Reddy Hanumaihgari" userId="86a9f56c-2e65-4a80-9d64-63b9c07412a6" providerId="ADAL" clId="{860CAC8F-2DFB-4EB7-8F93-2289B55B3A57}" dt="2018-01-26T05:15:34.325" v="213" actId="20577"/>
          <ac:spMkLst>
            <pc:docMk/>
            <pc:sldMk cId="147571053" sldId="257"/>
            <ac:spMk id="2" creationId="{00000000-0000-0000-0000-000000000000}"/>
          </ac:spMkLst>
        </pc:spChg>
      </pc:sldChg>
      <pc:sldChg chg="modSp add">
        <pc:chgData name="Sandeep Reddy Hanumaihgari" userId="86a9f56c-2e65-4a80-9d64-63b9c07412a6" providerId="ADAL" clId="{860CAC8F-2DFB-4EB7-8F93-2289B55B3A57}" dt="2018-01-20T10:06:46.111" v="47" actId="113"/>
        <pc:sldMkLst>
          <pc:docMk/>
          <pc:sldMk cId="850022433" sldId="287"/>
        </pc:sldMkLst>
        <pc:spChg chg="mod">
          <ac:chgData name="Sandeep Reddy Hanumaihgari" userId="86a9f56c-2e65-4a80-9d64-63b9c07412a6" providerId="ADAL" clId="{860CAC8F-2DFB-4EB7-8F93-2289B55B3A57}" dt="2018-01-20T10:05:21.256" v="36" actId="113"/>
          <ac:spMkLst>
            <pc:docMk/>
            <pc:sldMk cId="850022433" sldId="287"/>
            <ac:spMk id="2" creationId="{BA33A253-B9FA-46D5-9A49-9C7789DF85F0}"/>
          </ac:spMkLst>
        </pc:spChg>
        <pc:spChg chg="mod">
          <ac:chgData name="Sandeep Reddy Hanumaihgari" userId="86a9f56c-2e65-4a80-9d64-63b9c07412a6" providerId="ADAL" clId="{860CAC8F-2DFB-4EB7-8F93-2289B55B3A57}" dt="2018-01-20T10:06:46.111" v="47" actId="113"/>
          <ac:spMkLst>
            <pc:docMk/>
            <pc:sldMk cId="850022433" sldId="287"/>
            <ac:spMk id="3" creationId="{17BDCA5B-6659-4C46-9504-96A5DADE5BC4}"/>
          </ac:spMkLst>
        </pc:spChg>
      </pc:sldChg>
      <pc:sldChg chg="addSp delSp modSp add">
        <pc:chgData name="Sandeep Reddy Hanumaihgari" userId="86a9f56c-2e65-4a80-9d64-63b9c07412a6" providerId="ADAL" clId="{860CAC8F-2DFB-4EB7-8F93-2289B55B3A57}" dt="2018-01-20T10:07:18.605" v="51" actId="1076"/>
        <pc:sldMkLst>
          <pc:docMk/>
          <pc:sldMk cId="2512160439" sldId="288"/>
        </pc:sldMkLst>
        <pc:spChg chg="mod">
          <ac:chgData name="Sandeep Reddy Hanumaihgari" userId="86a9f56c-2e65-4a80-9d64-63b9c07412a6" providerId="ADAL" clId="{860CAC8F-2DFB-4EB7-8F93-2289B55B3A57}" dt="2018-01-20T10:07:00.925" v="49" actId="1076"/>
          <ac:spMkLst>
            <pc:docMk/>
            <pc:sldMk cId="2512160439" sldId="288"/>
            <ac:spMk id="2" creationId="{03F6E14D-BCE9-4814-B78B-415DBB7C4EF2}"/>
          </ac:spMkLst>
        </pc:spChg>
        <pc:spChg chg="del">
          <ac:chgData name="Sandeep Reddy Hanumaihgari" userId="86a9f56c-2e65-4a80-9d64-63b9c07412a6" providerId="ADAL" clId="{860CAC8F-2DFB-4EB7-8F93-2289B55B3A57}" dt="2018-01-20T10:07:16.240" v="50" actId="1076"/>
          <ac:spMkLst>
            <pc:docMk/>
            <pc:sldMk cId="2512160439" sldId="288"/>
            <ac:spMk id="3" creationId="{428F2E7D-2E3A-48BA-9F26-6EF4569067FF}"/>
          </ac:spMkLst>
        </pc:spChg>
        <pc:picChg chg="add mod">
          <ac:chgData name="Sandeep Reddy Hanumaihgari" userId="86a9f56c-2e65-4a80-9d64-63b9c07412a6" providerId="ADAL" clId="{860CAC8F-2DFB-4EB7-8F93-2289B55B3A57}" dt="2018-01-20T10:07:18.605" v="51" actId="1076"/>
          <ac:picMkLst>
            <pc:docMk/>
            <pc:sldMk cId="2512160439" sldId="288"/>
            <ac:picMk id="4" creationId="{3B38972F-2437-48AE-A574-0A61E03319EE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6T05:27:53.373" v="214" actId="20577"/>
        <pc:sldMkLst>
          <pc:docMk/>
          <pc:sldMk cId="1503519753" sldId="289"/>
        </pc:sldMkLst>
        <pc:spChg chg="mod">
          <ac:chgData name="Sandeep Reddy Hanumaihgari" userId="86a9f56c-2e65-4a80-9d64-63b9c07412a6" providerId="ADAL" clId="{860CAC8F-2DFB-4EB7-8F93-2289B55B3A57}" dt="2018-01-26T05:27:53.373" v="214" actId="20577"/>
          <ac:spMkLst>
            <pc:docMk/>
            <pc:sldMk cId="1503519753" sldId="289"/>
            <ac:spMk id="2" creationId="{035BEA24-B265-4BA0-B8BA-F61D6D380579}"/>
          </ac:spMkLst>
        </pc:spChg>
        <pc:spChg chg="del">
          <ac:chgData name="Sandeep Reddy Hanumaihgari" userId="86a9f56c-2e65-4a80-9d64-63b9c07412a6" providerId="ADAL" clId="{860CAC8F-2DFB-4EB7-8F93-2289B55B3A57}" dt="2018-01-20T10:07:54.035" v="54" actId="1076"/>
          <ac:spMkLst>
            <pc:docMk/>
            <pc:sldMk cId="1503519753" sldId="289"/>
            <ac:spMk id="3" creationId="{12218A9D-5621-48E5-97B3-7DD15E99D3B4}"/>
          </ac:spMkLst>
        </pc:spChg>
        <pc:picChg chg="add mod">
          <ac:chgData name="Sandeep Reddy Hanumaihgari" userId="86a9f56c-2e65-4a80-9d64-63b9c07412a6" providerId="ADAL" clId="{860CAC8F-2DFB-4EB7-8F93-2289B55B3A57}" dt="2018-01-20T10:07:56.742" v="55" actId="1076"/>
          <ac:picMkLst>
            <pc:docMk/>
            <pc:sldMk cId="1503519753" sldId="289"/>
            <ac:picMk id="4" creationId="{5C27171B-5060-441C-BD2F-341496D19A49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6T05:28:11.622" v="215" actId="20577"/>
        <pc:sldMkLst>
          <pc:docMk/>
          <pc:sldMk cId="3005430424" sldId="290"/>
        </pc:sldMkLst>
        <pc:spChg chg="mod">
          <ac:chgData name="Sandeep Reddy Hanumaihgari" userId="86a9f56c-2e65-4a80-9d64-63b9c07412a6" providerId="ADAL" clId="{860CAC8F-2DFB-4EB7-8F93-2289B55B3A57}" dt="2018-01-26T05:28:11.622" v="215" actId="20577"/>
          <ac:spMkLst>
            <pc:docMk/>
            <pc:sldMk cId="3005430424" sldId="290"/>
            <ac:spMk id="2" creationId="{B7098E90-21B3-48E8-B6D9-1AF09F7342A0}"/>
          </ac:spMkLst>
        </pc:spChg>
        <pc:spChg chg="del">
          <ac:chgData name="Sandeep Reddy Hanumaihgari" userId="86a9f56c-2e65-4a80-9d64-63b9c07412a6" providerId="ADAL" clId="{860CAC8F-2DFB-4EB7-8F93-2289B55B3A57}" dt="2018-01-20T10:08:31.217" v="58" actId="1076"/>
          <ac:spMkLst>
            <pc:docMk/>
            <pc:sldMk cId="3005430424" sldId="290"/>
            <ac:spMk id="3" creationId="{BE83D284-C0EE-40E6-AC31-D3D7B8D239C3}"/>
          </ac:spMkLst>
        </pc:spChg>
        <pc:picChg chg="add mod">
          <ac:chgData name="Sandeep Reddy Hanumaihgari" userId="86a9f56c-2e65-4a80-9d64-63b9c07412a6" providerId="ADAL" clId="{860CAC8F-2DFB-4EB7-8F93-2289B55B3A57}" dt="2018-01-20T10:08:32.530" v="59" actId="1076"/>
          <ac:picMkLst>
            <pc:docMk/>
            <pc:sldMk cId="3005430424" sldId="290"/>
            <ac:picMk id="4" creationId="{39EDE1FE-0829-4B78-9B6B-F86F13DD7611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0T10:09:04.689" v="63" actId="1076"/>
        <pc:sldMkLst>
          <pc:docMk/>
          <pc:sldMk cId="2510494887" sldId="291"/>
        </pc:sldMkLst>
        <pc:spChg chg="mod">
          <ac:chgData name="Sandeep Reddy Hanumaihgari" userId="86a9f56c-2e65-4a80-9d64-63b9c07412a6" providerId="ADAL" clId="{860CAC8F-2DFB-4EB7-8F93-2289B55B3A57}" dt="2018-01-20T10:08:45.936" v="61" actId="1076"/>
          <ac:spMkLst>
            <pc:docMk/>
            <pc:sldMk cId="2510494887" sldId="291"/>
            <ac:spMk id="2" creationId="{5EC7D9DD-E35D-4585-A432-B41A71809EC5}"/>
          </ac:spMkLst>
        </pc:spChg>
        <pc:spChg chg="del">
          <ac:chgData name="Sandeep Reddy Hanumaihgari" userId="86a9f56c-2e65-4a80-9d64-63b9c07412a6" providerId="ADAL" clId="{860CAC8F-2DFB-4EB7-8F93-2289B55B3A57}" dt="2018-01-20T10:09:03.470" v="62" actId="1076"/>
          <ac:spMkLst>
            <pc:docMk/>
            <pc:sldMk cId="2510494887" sldId="291"/>
            <ac:spMk id="3" creationId="{9F8DF578-847B-4889-989B-5905B24CE715}"/>
          </ac:spMkLst>
        </pc:spChg>
        <pc:picChg chg="add mod">
          <ac:chgData name="Sandeep Reddy Hanumaihgari" userId="86a9f56c-2e65-4a80-9d64-63b9c07412a6" providerId="ADAL" clId="{860CAC8F-2DFB-4EB7-8F93-2289B55B3A57}" dt="2018-01-20T10:09:04.689" v="63" actId="1076"/>
          <ac:picMkLst>
            <pc:docMk/>
            <pc:sldMk cId="2510494887" sldId="291"/>
            <ac:picMk id="4" creationId="{626808D8-F55F-4BE4-AA00-AC0C0A585F7E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0T10:09:45.199" v="68" actId="1076"/>
        <pc:sldMkLst>
          <pc:docMk/>
          <pc:sldMk cId="996364019" sldId="292"/>
        </pc:sldMkLst>
        <pc:spChg chg="mod">
          <ac:chgData name="Sandeep Reddy Hanumaihgari" userId="86a9f56c-2e65-4a80-9d64-63b9c07412a6" providerId="ADAL" clId="{860CAC8F-2DFB-4EB7-8F93-2289B55B3A57}" dt="2018-01-20T10:09:24.898" v="66" actId="20577"/>
          <ac:spMkLst>
            <pc:docMk/>
            <pc:sldMk cId="996364019" sldId="292"/>
            <ac:spMk id="2" creationId="{ACF8F946-A6D5-43C1-9487-B94BE03D0B18}"/>
          </ac:spMkLst>
        </pc:spChg>
        <pc:spChg chg="del">
          <ac:chgData name="Sandeep Reddy Hanumaihgari" userId="86a9f56c-2e65-4a80-9d64-63b9c07412a6" providerId="ADAL" clId="{860CAC8F-2DFB-4EB7-8F93-2289B55B3A57}" dt="2018-01-20T10:09:42.390" v="67" actId="1076"/>
          <ac:spMkLst>
            <pc:docMk/>
            <pc:sldMk cId="996364019" sldId="292"/>
            <ac:spMk id="3" creationId="{6773334F-C60B-4944-9C95-0C3359D255CA}"/>
          </ac:spMkLst>
        </pc:spChg>
        <pc:picChg chg="add mod">
          <ac:chgData name="Sandeep Reddy Hanumaihgari" userId="86a9f56c-2e65-4a80-9d64-63b9c07412a6" providerId="ADAL" clId="{860CAC8F-2DFB-4EB7-8F93-2289B55B3A57}" dt="2018-01-20T10:09:45.199" v="68" actId="1076"/>
          <ac:picMkLst>
            <pc:docMk/>
            <pc:sldMk cId="996364019" sldId="292"/>
            <ac:picMk id="4" creationId="{A60969F9-CCB0-4A54-AA67-A3B1687474DF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6T05:28:45.821" v="217" actId="20577"/>
        <pc:sldMkLst>
          <pc:docMk/>
          <pc:sldMk cId="3669710494" sldId="293"/>
        </pc:sldMkLst>
        <pc:spChg chg="mod">
          <ac:chgData name="Sandeep Reddy Hanumaihgari" userId="86a9f56c-2e65-4a80-9d64-63b9c07412a6" providerId="ADAL" clId="{860CAC8F-2DFB-4EB7-8F93-2289B55B3A57}" dt="2018-01-26T05:28:45.821" v="217" actId="20577"/>
          <ac:spMkLst>
            <pc:docMk/>
            <pc:sldMk cId="3669710494" sldId="293"/>
            <ac:spMk id="2" creationId="{5FCA6F2F-1A5C-4755-AE4C-CFE315FA31AA}"/>
          </ac:spMkLst>
        </pc:spChg>
        <pc:spChg chg="del">
          <ac:chgData name="Sandeep Reddy Hanumaihgari" userId="86a9f56c-2e65-4a80-9d64-63b9c07412a6" providerId="ADAL" clId="{860CAC8F-2DFB-4EB7-8F93-2289B55B3A57}" dt="2018-01-20T10:10:16.837" v="71" actId="1076"/>
          <ac:spMkLst>
            <pc:docMk/>
            <pc:sldMk cId="3669710494" sldId="293"/>
            <ac:spMk id="3" creationId="{86F46E13-3693-42D5-B127-9451CD0770AC}"/>
          </ac:spMkLst>
        </pc:spChg>
        <pc:picChg chg="add mod">
          <ac:chgData name="Sandeep Reddy Hanumaihgari" userId="86a9f56c-2e65-4a80-9d64-63b9c07412a6" providerId="ADAL" clId="{860CAC8F-2DFB-4EB7-8F93-2289B55B3A57}" dt="2018-01-20T10:10:18.752" v="72" actId="1076"/>
          <ac:picMkLst>
            <pc:docMk/>
            <pc:sldMk cId="3669710494" sldId="293"/>
            <ac:picMk id="4" creationId="{2E90FA2E-5BC3-413A-84D9-B0E080F7EA35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0T10:11:09.418" v="77" actId="1076"/>
        <pc:sldMkLst>
          <pc:docMk/>
          <pc:sldMk cId="3933676688" sldId="294"/>
        </pc:sldMkLst>
        <pc:spChg chg="mod">
          <ac:chgData name="Sandeep Reddy Hanumaihgari" userId="86a9f56c-2e65-4a80-9d64-63b9c07412a6" providerId="ADAL" clId="{860CAC8F-2DFB-4EB7-8F93-2289B55B3A57}" dt="2018-01-20T10:10:49.237" v="75" actId="20577"/>
          <ac:spMkLst>
            <pc:docMk/>
            <pc:sldMk cId="3933676688" sldId="294"/>
            <ac:spMk id="2" creationId="{31E1F643-734F-43FE-BB07-9D0ABA0018BE}"/>
          </ac:spMkLst>
        </pc:spChg>
        <pc:spChg chg="del">
          <ac:chgData name="Sandeep Reddy Hanumaihgari" userId="86a9f56c-2e65-4a80-9d64-63b9c07412a6" providerId="ADAL" clId="{860CAC8F-2DFB-4EB7-8F93-2289B55B3A57}" dt="2018-01-20T10:11:06.776" v="76" actId="1076"/>
          <ac:spMkLst>
            <pc:docMk/>
            <pc:sldMk cId="3933676688" sldId="294"/>
            <ac:spMk id="3" creationId="{2FFAB864-D345-48C2-8206-94E0CAAB43E5}"/>
          </ac:spMkLst>
        </pc:spChg>
        <pc:picChg chg="add mod">
          <ac:chgData name="Sandeep Reddy Hanumaihgari" userId="86a9f56c-2e65-4a80-9d64-63b9c07412a6" providerId="ADAL" clId="{860CAC8F-2DFB-4EB7-8F93-2289B55B3A57}" dt="2018-01-20T10:11:09.418" v="77" actId="1076"/>
          <ac:picMkLst>
            <pc:docMk/>
            <pc:sldMk cId="3933676688" sldId="294"/>
            <ac:picMk id="4" creationId="{ED67F828-E73F-479C-BD47-87DEE3BF2812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6T06:10:50.801" v="304" actId="6549"/>
        <pc:sldMkLst>
          <pc:docMk/>
          <pc:sldMk cId="308202605" sldId="295"/>
        </pc:sldMkLst>
        <pc:spChg chg="mod">
          <ac:chgData name="Sandeep Reddy Hanumaihgari" userId="86a9f56c-2e65-4a80-9d64-63b9c07412a6" providerId="ADAL" clId="{860CAC8F-2DFB-4EB7-8F93-2289B55B3A57}" dt="2018-01-26T06:08:34.050" v="277" actId="6549"/>
          <ac:spMkLst>
            <pc:docMk/>
            <pc:sldMk cId="308202605" sldId="295"/>
            <ac:spMk id="2" creationId="{9D0352BA-8654-4F0E-A208-B35739F57D60}"/>
          </ac:spMkLst>
        </pc:spChg>
        <pc:spChg chg="del">
          <ac:chgData name="Sandeep Reddy Hanumaihgari" userId="86a9f56c-2e65-4a80-9d64-63b9c07412a6" providerId="ADAL" clId="{860CAC8F-2DFB-4EB7-8F93-2289B55B3A57}" dt="2018-01-20T10:17:09.903" v="81" actId="1076"/>
          <ac:spMkLst>
            <pc:docMk/>
            <pc:sldMk cId="308202605" sldId="295"/>
            <ac:spMk id="3" creationId="{57338F91-0CE9-4D74-B395-D2335D4C288C}"/>
          </ac:spMkLst>
        </pc:spChg>
        <pc:spChg chg="add mod">
          <ac:chgData name="Sandeep Reddy Hanumaihgari" userId="86a9f56c-2e65-4a80-9d64-63b9c07412a6" providerId="ADAL" clId="{860CAC8F-2DFB-4EB7-8F93-2289B55B3A57}" dt="2018-01-26T06:10:50.801" v="304" actId="6549"/>
          <ac:spMkLst>
            <pc:docMk/>
            <pc:sldMk cId="308202605" sldId="295"/>
            <ac:spMk id="5" creationId="{F290F06E-9B96-42EB-98C4-B935DB5ABB29}"/>
          </ac:spMkLst>
        </pc:spChg>
        <pc:picChg chg="add del mod">
          <ac:chgData name="Sandeep Reddy Hanumaihgari" userId="86a9f56c-2e65-4a80-9d64-63b9c07412a6" providerId="ADAL" clId="{860CAC8F-2DFB-4EB7-8F93-2289B55B3A57}" dt="2018-01-26T06:08:35.084" v="278" actId="478"/>
          <ac:picMkLst>
            <pc:docMk/>
            <pc:sldMk cId="308202605" sldId="295"/>
            <ac:picMk id="4" creationId="{4D7E5A67-E09C-48C7-8AD3-4E345A19CF8F}"/>
          </ac:picMkLst>
        </pc:picChg>
        <pc:picChg chg="add mod">
          <ac:chgData name="Sandeep Reddy Hanumaihgari" userId="86a9f56c-2e65-4a80-9d64-63b9c07412a6" providerId="ADAL" clId="{860CAC8F-2DFB-4EB7-8F93-2289B55B3A57}" dt="2018-01-26T06:09:50.238" v="293" actId="14100"/>
          <ac:picMkLst>
            <pc:docMk/>
            <pc:sldMk cId="308202605" sldId="295"/>
            <ac:picMk id="6" creationId="{CA3DA812-C14A-41CC-ACA4-B3E82A1BB0F5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9T04:36:15.735" v="312" actId="1076"/>
        <pc:sldMkLst>
          <pc:docMk/>
          <pc:sldMk cId="1469102945" sldId="296"/>
        </pc:sldMkLst>
        <pc:spChg chg="mod">
          <ac:chgData name="Sandeep Reddy Hanumaihgari" userId="86a9f56c-2e65-4a80-9d64-63b9c07412a6" providerId="ADAL" clId="{860CAC8F-2DFB-4EB7-8F93-2289B55B3A57}" dt="2018-01-29T04:36:06.674" v="307"/>
          <ac:spMkLst>
            <pc:docMk/>
            <pc:sldMk cId="1469102945" sldId="296"/>
            <ac:spMk id="2" creationId="{48316A44-C371-40CE-B826-6F041DBB106E}"/>
          </ac:spMkLst>
        </pc:spChg>
        <pc:spChg chg="del">
          <ac:chgData name="Sandeep Reddy Hanumaihgari" userId="86a9f56c-2e65-4a80-9d64-63b9c07412a6" providerId="ADAL" clId="{860CAC8F-2DFB-4EB7-8F93-2289B55B3A57}" dt="2018-01-20T10:18:10.440" v="85" actId="1076"/>
          <ac:spMkLst>
            <pc:docMk/>
            <pc:sldMk cId="1469102945" sldId="296"/>
            <ac:spMk id="3" creationId="{F0C1F68E-A2D6-417E-AE80-4F9B302F29DC}"/>
          </ac:spMkLst>
        </pc:spChg>
        <pc:spChg chg="add del mod">
          <ac:chgData name="Sandeep Reddy Hanumaihgari" userId="86a9f56c-2e65-4a80-9d64-63b9c07412a6" providerId="ADAL" clId="{860CAC8F-2DFB-4EB7-8F93-2289B55B3A57}" dt="2018-01-26T05:55:50.602" v="228" actId="478"/>
          <ac:spMkLst>
            <pc:docMk/>
            <pc:sldMk cId="1469102945" sldId="296"/>
            <ac:spMk id="5" creationId="{99FF68E5-9836-4FBA-AE57-8772528434FF}"/>
          </ac:spMkLst>
        </pc:spChg>
        <pc:spChg chg="add del mod">
          <ac:chgData name="Sandeep Reddy Hanumaihgari" userId="86a9f56c-2e65-4a80-9d64-63b9c07412a6" providerId="ADAL" clId="{860CAC8F-2DFB-4EB7-8F93-2289B55B3A57}" dt="2018-01-29T04:36:10.722" v="310"/>
          <ac:spMkLst>
            <pc:docMk/>
            <pc:sldMk cId="1469102945" sldId="296"/>
            <ac:spMk id="8" creationId="{B2DEF5BE-ED5A-42BA-A697-532C298AC86E}"/>
          </ac:spMkLst>
        </pc:spChg>
        <pc:picChg chg="add del mod">
          <ac:chgData name="Sandeep Reddy Hanumaihgari" userId="86a9f56c-2e65-4a80-9d64-63b9c07412a6" providerId="ADAL" clId="{860CAC8F-2DFB-4EB7-8F93-2289B55B3A57}" dt="2018-01-26T05:55:47.931" v="226" actId="478"/>
          <ac:picMkLst>
            <pc:docMk/>
            <pc:sldMk cId="1469102945" sldId="296"/>
            <ac:picMk id="4" creationId="{27343BBD-C70F-4B74-BC3B-DCD5B8C2F590}"/>
          </ac:picMkLst>
        </pc:picChg>
        <pc:picChg chg="add del mod">
          <ac:chgData name="Sandeep Reddy Hanumaihgari" userId="86a9f56c-2e65-4a80-9d64-63b9c07412a6" providerId="ADAL" clId="{860CAC8F-2DFB-4EB7-8F93-2289B55B3A57}" dt="2018-01-29T04:35:58.454" v="305" actId="478"/>
          <ac:picMkLst>
            <pc:docMk/>
            <pc:sldMk cId="1469102945" sldId="296"/>
            <ac:picMk id="6" creationId="{6D0C4E5B-8D6D-4891-BFFD-A8A0FB3C9B8B}"/>
          </ac:picMkLst>
        </pc:picChg>
        <pc:picChg chg="add mod">
          <ac:chgData name="Sandeep Reddy Hanumaihgari" userId="86a9f56c-2e65-4a80-9d64-63b9c07412a6" providerId="ADAL" clId="{860CAC8F-2DFB-4EB7-8F93-2289B55B3A57}" dt="2018-01-29T04:36:15.735" v="312" actId="1076"/>
          <ac:picMkLst>
            <pc:docMk/>
            <pc:sldMk cId="1469102945" sldId="296"/>
            <ac:picMk id="7" creationId="{B96A6F20-5D9C-4043-8E1B-5283F934008F}"/>
          </ac:picMkLst>
        </pc:picChg>
      </pc:sldChg>
      <pc:sldChg chg="addSp delSp modSp add del">
        <pc:chgData name="Sandeep Reddy Hanumaihgari" userId="86a9f56c-2e65-4a80-9d64-63b9c07412a6" providerId="ADAL" clId="{860CAC8F-2DFB-4EB7-8F93-2289B55B3A57}" dt="2018-01-29T04:41:41.565" v="313" actId="2696"/>
        <pc:sldMkLst>
          <pc:docMk/>
          <pc:sldMk cId="3719216111" sldId="297"/>
        </pc:sldMkLst>
        <pc:spChg chg="mod">
          <ac:chgData name="Sandeep Reddy Hanumaihgari" userId="86a9f56c-2e65-4a80-9d64-63b9c07412a6" providerId="ADAL" clId="{860CAC8F-2DFB-4EB7-8F93-2289B55B3A57}" dt="2018-01-20T10:18:38.182" v="90" actId="1076"/>
          <ac:spMkLst>
            <pc:docMk/>
            <pc:sldMk cId="3719216111" sldId="297"/>
            <ac:spMk id="2" creationId="{06974910-61B2-4294-AAF6-01DE65AE57BE}"/>
          </ac:spMkLst>
        </pc:spChg>
        <pc:spChg chg="del">
          <ac:chgData name="Sandeep Reddy Hanumaihgari" userId="86a9f56c-2e65-4a80-9d64-63b9c07412a6" providerId="ADAL" clId="{860CAC8F-2DFB-4EB7-8F93-2289B55B3A57}" dt="2018-01-20T10:18:50.390" v="91" actId="1076"/>
          <ac:spMkLst>
            <pc:docMk/>
            <pc:sldMk cId="3719216111" sldId="297"/>
            <ac:spMk id="3" creationId="{FEB78D17-EBDC-42B7-867B-FE6E706C4F16}"/>
          </ac:spMkLst>
        </pc:spChg>
        <pc:picChg chg="add mod">
          <ac:chgData name="Sandeep Reddy Hanumaihgari" userId="86a9f56c-2e65-4a80-9d64-63b9c07412a6" providerId="ADAL" clId="{860CAC8F-2DFB-4EB7-8F93-2289B55B3A57}" dt="2018-01-20T10:18:55.353" v="93" actId="1076"/>
          <ac:picMkLst>
            <pc:docMk/>
            <pc:sldMk cId="3719216111" sldId="297"/>
            <ac:picMk id="4" creationId="{8BD18366-C1E3-4729-BC08-9FE9A304D7B0}"/>
          </ac:picMkLst>
        </pc:picChg>
      </pc:sldChg>
      <pc:sldChg chg="addSp delSp modSp add del">
        <pc:chgData name="Sandeep Reddy Hanumaihgari" userId="86a9f56c-2e65-4a80-9d64-63b9c07412a6" providerId="ADAL" clId="{860CAC8F-2DFB-4EB7-8F93-2289B55B3A57}" dt="2018-01-29T04:41:43.780" v="314" actId="2696"/>
        <pc:sldMkLst>
          <pc:docMk/>
          <pc:sldMk cId="3065896535" sldId="298"/>
        </pc:sldMkLst>
        <pc:spChg chg="mod">
          <ac:chgData name="Sandeep Reddy Hanumaihgari" userId="86a9f56c-2e65-4a80-9d64-63b9c07412a6" providerId="ADAL" clId="{860CAC8F-2DFB-4EB7-8F93-2289B55B3A57}" dt="2018-01-20T10:19:03.356" v="94" actId="1076"/>
          <ac:spMkLst>
            <pc:docMk/>
            <pc:sldMk cId="3065896535" sldId="298"/>
            <ac:spMk id="2" creationId="{CBF45651-F7D3-454E-BFB6-FEFE2F2728AD}"/>
          </ac:spMkLst>
        </pc:spChg>
        <pc:spChg chg="del">
          <ac:chgData name="Sandeep Reddy Hanumaihgari" userId="86a9f56c-2e65-4a80-9d64-63b9c07412a6" providerId="ADAL" clId="{860CAC8F-2DFB-4EB7-8F93-2289B55B3A57}" dt="2018-01-20T10:19:15.686" v="95" actId="1076"/>
          <ac:spMkLst>
            <pc:docMk/>
            <pc:sldMk cId="3065896535" sldId="298"/>
            <ac:spMk id="3" creationId="{632EE066-7100-4BB7-AE3D-50389CF0859C}"/>
          </ac:spMkLst>
        </pc:spChg>
        <pc:picChg chg="add mod">
          <ac:chgData name="Sandeep Reddy Hanumaihgari" userId="86a9f56c-2e65-4a80-9d64-63b9c07412a6" providerId="ADAL" clId="{860CAC8F-2DFB-4EB7-8F93-2289B55B3A57}" dt="2018-01-20T10:19:16.782" v="96" actId="1076"/>
          <ac:picMkLst>
            <pc:docMk/>
            <pc:sldMk cId="3065896535" sldId="298"/>
            <ac:picMk id="4" creationId="{38B77CB2-3DD4-4B90-BA69-08D47D87977E}"/>
          </ac:picMkLst>
        </pc:picChg>
      </pc:sldChg>
      <pc:sldChg chg="addSp delSp modSp add del">
        <pc:chgData name="Sandeep Reddy Hanumaihgari" userId="86a9f56c-2e65-4a80-9d64-63b9c07412a6" providerId="ADAL" clId="{860CAC8F-2DFB-4EB7-8F93-2289B55B3A57}" dt="2018-01-29T04:41:46.430" v="315" actId="2696"/>
        <pc:sldMkLst>
          <pc:docMk/>
          <pc:sldMk cId="3693132241" sldId="299"/>
        </pc:sldMkLst>
        <pc:spChg chg="mod">
          <ac:chgData name="Sandeep Reddy Hanumaihgari" userId="86a9f56c-2e65-4a80-9d64-63b9c07412a6" providerId="ADAL" clId="{860CAC8F-2DFB-4EB7-8F93-2289B55B3A57}" dt="2018-01-20T10:19:25.546" v="98" actId="1076"/>
          <ac:spMkLst>
            <pc:docMk/>
            <pc:sldMk cId="3693132241" sldId="299"/>
            <ac:spMk id="2" creationId="{84CA48F6-A9DF-4AD8-9B81-0B4C9278730F}"/>
          </ac:spMkLst>
        </pc:spChg>
        <pc:spChg chg="del">
          <ac:chgData name="Sandeep Reddy Hanumaihgari" userId="86a9f56c-2e65-4a80-9d64-63b9c07412a6" providerId="ADAL" clId="{860CAC8F-2DFB-4EB7-8F93-2289B55B3A57}" dt="2018-01-20T10:19:38.226" v="99" actId="1076"/>
          <ac:spMkLst>
            <pc:docMk/>
            <pc:sldMk cId="3693132241" sldId="299"/>
            <ac:spMk id="3" creationId="{77ABE8C8-1B06-450C-85A8-24F963E551BE}"/>
          </ac:spMkLst>
        </pc:spChg>
        <pc:picChg chg="add mod">
          <ac:chgData name="Sandeep Reddy Hanumaihgari" userId="86a9f56c-2e65-4a80-9d64-63b9c07412a6" providerId="ADAL" clId="{860CAC8F-2DFB-4EB7-8F93-2289B55B3A57}" dt="2018-01-20T10:19:39.451" v="100" actId="1076"/>
          <ac:picMkLst>
            <pc:docMk/>
            <pc:sldMk cId="3693132241" sldId="299"/>
            <ac:picMk id="4" creationId="{BC7F5916-C25C-4538-9400-9149334B0DEE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0T10:21:36.811" v="109" actId="20577"/>
        <pc:sldMkLst>
          <pc:docMk/>
          <pc:sldMk cId="666989165" sldId="300"/>
        </pc:sldMkLst>
        <pc:spChg chg="mod">
          <ac:chgData name="Sandeep Reddy Hanumaihgari" userId="86a9f56c-2e65-4a80-9d64-63b9c07412a6" providerId="ADAL" clId="{860CAC8F-2DFB-4EB7-8F93-2289B55B3A57}" dt="2018-01-20T10:21:36.811" v="109" actId="20577"/>
          <ac:spMkLst>
            <pc:docMk/>
            <pc:sldMk cId="666989165" sldId="300"/>
            <ac:spMk id="2" creationId="{A76B9367-9A00-4AF3-8359-24E8F1A0B265}"/>
          </ac:spMkLst>
        </pc:spChg>
        <pc:spChg chg="del">
          <ac:chgData name="Sandeep Reddy Hanumaihgari" userId="86a9f56c-2e65-4a80-9d64-63b9c07412a6" providerId="ADAL" clId="{860CAC8F-2DFB-4EB7-8F93-2289B55B3A57}" dt="2018-01-20T10:20:08.123" v="103" actId="20577"/>
          <ac:spMkLst>
            <pc:docMk/>
            <pc:sldMk cId="666989165" sldId="300"/>
            <ac:spMk id="3" creationId="{CA672172-52E4-4F26-8930-AD3CC7BD33BB}"/>
          </ac:spMkLst>
        </pc:spChg>
        <pc:picChg chg="add mod">
          <ac:chgData name="Sandeep Reddy Hanumaihgari" userId="86a9f56c-2e65-4a80-9d64-63b9c07412a6" providerId="ADAL" clId="{860CAC8F-2DFB-4EB7-8F93-2289B55B3A57}" dt="2018-01-20T10:20:09.640" v="104" actId="1076"/>
          <ac:picMkLst>
            <pc:docMk/>
            <pc:sldMk cId="666989165" sldId="300"/>
            <ac:picMk id="4" creationId="{BF3B2BE9-F54F-4862-B38E-288B549EEB66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0T10:20:42.317" v="107" actId="1076"/>
        <pc:sldMkLst>
          <pc:docMk/>
          <pc:sldMk cId="3490037624" sldId="301"/>
        </pc:sldMkLst>
        <pc:spChg chg="mod">
          <ac:chgData name="Sandeep Reddy Hanumaihgari" userId="86a9f56c-2e65-4a80-9d64-63b9c07412a6" providerId="ADAL" clId="{860CAC8F-2DFB-4EB7-8F93-2289B55B3A57}" dt="2018-01-20T10:20:24.279" v="106" actId="1076"/>
          <ac:spMkLst>
            <pc:docMk/>
            <pc:sldMk cId="3490037624" sldId="301"/>
            <ac:spMk id="2" creationId="{CA46AEAB-B75D-40B3-A3FD-8336BB608BFA}"/>
          </ac:spMkLst>
        </pc:spChg>
        <pc:spChg chg="del">
          <ac:chgData name="Sandeep Reddy Hanumaihgari" userId="86a9f56c-2e65-4a80-9d64-63b9c07412a6" providerId="ADAL" clId="{860CAC8F-2DFB-4EB7-8F93-2289B55B3A57}" dt="2018-01-20T10:20:42.317" v="107" actId="1076"/>
          <ac:spMkLst>
            <pc:docMk/>
            <pc:sldMk cId="3490037624" sldId="301"/>
            <ac:spMk id="3" creationId="{99A87481-F10A-47F2-9F1A-AB21342C41B3}"/>
          </ac:spMkLst>
        </pc:spChg>
        <pc:picChg chg="add mod">
          <ac:chgData name="Sandeep Reddy Hanumaihgari" userId="86a9f56c-2e65-4a80-9d64-63b9c07412a6" providerId="ADAL" clId="{860CAC8F-2DFB-4EB7-8F93-2289B55B3A57}" dt="2018-01-20T10:20:42.317" v="107" actId="1076"/>
          <ac:picMkLst>
            <pc:docMk/>
            <pc:sldMk cId="3490037624" sldId="301"/>
            <ac:picMk id="4" creationId="{39F38CF0-F325-4821-913E-CD8D172A922B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0T10:25:34.479" v="113" actId="1076"/>
        <pc:sldMkLst>
          <pc:docMk/>
          <pc:sldMk cId="860703929" sldId="302"/>
        </pc:sldMkLst>
        <pc:spChg chg="mod">
          <ac:chgData name="Sandeep Reddy Hanumaihgari" userId="86a9f56c-2e65-4a80-9d64-63b9c07412a6" providerId="ADAL" clId="{860CAC8F-2DFB-4EB7-8F93-2289B55B3A57}" dt="2018-01-20T10:21:51.401" v="110" actId="1076"/>
          <ac:spMkLst>
            <pc:docMk/>
            <pc:sldMk cId="860703929" sldId="302"/>
            <ac:spMk id="2" creationId="{9368E063-9709-48B5-9C5B-EE9EFE7F5548}"/>
          </ac:spMkLst>
        </pc:spChg>
        <pc:spChg chg="del">
          <ac:chgData name="Sandeep Reddy Hanumaihgari" userId="86a9f56c-2e65-4a80-9d64-63b9c07412a6" providerId="ADAL" clId="{860CAC8F-2DFB-4EB7-8F93-2289B55B3A57}" dt="2018-01-20T10:22:07.553" v="111" actId="1076"/>
          <ac:spMkLst>
            <pc:docMk/>
            <pc:sldMk cId="860703929" sldId="302"/>
            <ac:spMk id="3" creationId="{346101B9-EF2C-43B0-B363-E75F799E3DC6}"/>
          </ac:spMkLst>
        </pc:spChg>
        <pc:picChg chg="add mod">
          <ac:chgData name="Sandeep Reddy Hanumaihgari" userId="86a9f56c-2e65-4a80-9d64-63b9c07412a6" providerId="ADAL" clId="{860CAC8F-2DFB-4EB7-8F93-2289B55B3A57}" dt="2018-01-20T10:25:34.479" v="113" actId="1076"/>
          <ac:picMkLst>
            <pc:docMk/>
            <pc:sldMk cId="860703929" sldId="302"/>
            <ac:picMk id="4" creationId="{4E3CA4A3-E152-4D3E-AE88-C7B23444033C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0T10:26:18.847" v="117" actId="1076"/>
        <pc:sldMkLst>
          <pc:docMk/>
          <pc:sldMk cId="2097583138" sldId="303"/>
        </pc:sldMkLst>
        <pc:spChg chg="mod">
          <ac:chgData name="Sandeep Reddy Hanumaihgari" userId="86a9f56c-2e65-4a80-9d64-63b9c07412a6" providerId="ADAL" clId="{860CAC8F-2DFB-4EB7-8F93-2289B55B3A57}" dt="2018-01-20T10:25:58.557" v="115" actId="1076"/>
          <ac:spMkLst>
            <pc:docMk/>
            <pc:sldMk cId="2097583138" sldId="303"/>
            <ac:spMk id="2" creationId="{245178AB-9BDB-4AC6-9F80-14EEFF5DFA34}"/>
          </ac:spMkLst>
        </pc:spChg>
        <pc:spChg chg="del">
          <ac:chgData name="Sandeep Reddy Hanumaihgari" userId="86a9f56c-2e65-4a80-9d64-63b9c07412a6" providerId="ADAL" clId="{860CAC8F-2DFB-4EB7-8F93-2289B55B3A57}" dt="2018-01-20T10:26:16.816" v="116" actId="1076"/>
          <ac:spMkLst>
            <pc:docMk/>
            <pc:sldMk cId="2097583138" sldId="303"/>
            <ac:spMk id="3" creationId="{252360A4-B3C7-4A85-BC3F-C726BD4D634C}"/>
          </ac:spMkLst>
        </pc:spChg>
        <pc:picChg chg="add mod">
          <ac:chgData name="Sandeep Reddy Hanumaihgari" userId="86a9f56c-2e65-4a80-9d64-63b9c07412a6" providerId="ADAL" clId="{860CAC8F-2DFB-4EB7-8F93-2289B55B3A57}" dt="2018-01-20T10:26:18.847" v="117" actId="1076"/>
          <ac:picMkLst>
            <pc:docMk/>
            <pc:sldMk cId="2097583138" sldId="303"/>
            <ac:picMk id="4" creationId="{DFCA6A91-FCB7-4358-B167-999F45C4E6B6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6T06:03:29.280" v="253" actId="1076"/>
        <pc:sldMkLst>
          <pc:docMk/>
          <pc:sldMk cId="380179471" sldId="304"/>
        </pc:sldMkLst>
        <pc:spChg chg="mod">
          <ac:chgData name="Sandeep Reddy Hanumaihgari" userId="86a9f56c-2e65-4a80-9d64-63b9c07412a6" providerId="ADAL" clId="{860CAC8F-2DFB-4EB7-8F93-2289B55B3A57}" dt="2018-01-20T10:26:44.662" v="119" actId="1076"/>
          <ac:spMkLst>
            <pc:docMk/>
            <pc:sldMk cId="380179471" sldId="304"/>
            <ac:spMk id="2" creationId="{D990C6EB-5E67-4583-924E-20339CB42D84}"/>
          </ac:spMkLst>
        </pc:spChg>
        <pc:spChg chg="del">
          <ac:chgData name="Sandeep Reddy Hanumaihgari" userId="86a9f56c-2e65-4a80-9d64-63b9c07412a6" providerId="ADAL" clId="{860CAC8F-2DFB-4EB7-8F93-2289B55B3A57}" dt="2018-01-20T10:26:58.110" v="120" actId="1076"/>
          <ac:spMkLst>
            <pc:docMk/>
            <pc:sldMk cId="380179471" sldId="304"/>
            <ac:spMk id="3" creationId="{B12435BA-6ADD-491F-A59F-B79A6C4E6DAB}"/>
          </ac:spMkLst>
        </pc:spChg>
        <pc:picChg chg="add mod">
          <ac:chgData name="Sandeep Reddy Hanumaihgari" userId="86a9f56c-2e65-4a80-9d64-63b9c07412a6" providerId="ADAL" clId="{860CAC8F-2DFB-4EB7-8F93-2289B55B3A57}" dt="2018-01-26T06:03:29.280" v="253" actId="1076"/>
          <ac:picMkLst>
            <pc:docMk/>
            <pc:sldMk cId="380179471" sldId="304"/>
            <ac:picMk id="4" creationId="{005F2DC6-B672-4FF7-8AA9-E987BE91AFE5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0T10:28:01.071" v="126" actId="1076"/>
        <pc:sldMkLst>
          <pc:docMk/>
          <pc:sldMk cId="2496043787" sldId="305"/>
        </pc:sldMkLst>
        <pc:spChg chg="mod">
          <ac:chgData name="Sandeep Reddy Hanumaihgari" userId="86a9f56c-2e65-4a80-9d64-63b9c07412a6" providerId="ADAL" clId="{860CAC8F-2DFB-4EB7-8F93-2289B55B3A57}" dt="2018-01-20T10:27:43.390" v="124" actId="1076"/>
          <ac:spMkLst>
            <pc:docMk/>
            <pc:sldMk cId="2496043787" sldId="305"/>
            <ac:spMk id="2" creationId="{317CFA11-1C59-4B31-8C66-8F2E5458E6DF}"/>
          </ac:spMkLst>
        </pc:spChg>
        <pc:spChg chg="del">
          <ac:chgData name="Sandeep Reddy Hanumaihgari" userId="86a9f56c-2e65-4a80-9d64-63b9c07412a6" providerId="ADAL" clId="{860CAC8F-2DFB-4EB7-8F93-2289B55B3A57}" dt="2018-01-20T10:27:59.385" v="125" actId="1076"/>
          <ac:spMkLst>
            <pc:docMk/>
            <pc:sldMk cId="2496043787" sldId="305"/>
            <ac:spMk id="3" creationId="{5C5C7087-4A2C-4C6C-9DB8-01E7E8FBF13C}"/>
          </ac:spMkLst>
        </pc:spChg>
        <pc:picChg chg="add mod">
          <ac:chgData name="Sandeep Reddy Hanumaihgari" userId="86a9f56c-2e65-4a80-9d64-63b9c07412a6" providerId="ADAL" clId="{860CAC8F-2DFB-4EB7-8F93-2289B55B3A57}" dt="2018-01-20T10:28:01.071" v="126" actId="1076"/>
          <ac:picMkLst>
            <pc:docMk/>
            <pc:sldMk cId="2496043787" sldId="305"/>
            <ac:picMk id="4" creationId="{35B3FFFE-EC3A-40F4-B23D-6095C6C50669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6T05:59:34.052" v="251" actId="14100"/>
        <pc:sldMkLst>
          <pc:docMk/>
          <pc:sldMk cId="343234650" sldId="306"/>
        </pc:sldMkLst>
        <pc:spChg chg="mod">
          <ac:chgData name="Sandeep Reddy Hanumaihgari" userId="86a9f56c-2e65-4a80-9d64-63b9c07412a6" providerId="ADAL" clId="{860CAC8F-2DFB-4EB7-8F93-2289B55B3A57}" dt="2018-01-20T10:31:21.845" v="128" actId="1076"/>
          <ac:spMkLst>
            <pc:docMk/>
            <pc:sldMk cId="343234650" sldId="306"/>
            <ac:spMk id="2" creationId="{D5D42F0C-DE1F-4932-80D3-FBEE07409860}"/>
          </ac:spMkLst>
        </pc:spChg>
        <pc:spChg chg="del">
          <ac:chgData name="Sandeep Reddy Hanumaihgari" userId="86a9f56c-2e65-4a80-9d64-63b9c07412a6" providerId="ADAL" clId="{860CAC8F-2DFB-4EB7-8F93-2289B55B3A57}" dt="2018-01-20T10:31:34.384" v="129" actId="1076"/>
          <ac:spMkLst>
            <pc:docMk/>
            <pc:sldMk cId="343234650" sldId="306"/>
            <ac:spMk id="3" creationId="{624C56E8-6674-431A-A508-F49DA490CD8C}"/>
          </ac:spMkLst>
        </pc:spChg>
        <pc:picChg chg="add mod">
          <ac:chgData name="Sandeep Reddy Hanumaihgari" userId="86a9f56c-2e65-4a80-9d64-63b9c07412a6" providerId="ADAL" clId="{860CAC8F-2DFB-4EB7-8F93-2289B55B3A57}" dt="2018-01-26T05:59:28.185" v="250" actId="1076"/>
          <ac:picMkLst>
            <pc:docMk/>
            <pc:sldMk cId="343234650" sldId="306"/>
            <ac:picMk id="3" creationId="{0A02D0EF-9150-4813-976B-185685D05665}"/>
          </ac:picMkLst>
        </pc:picChg>
        <pc:picChg chg="add mod">
          <ac:chgData name="Sandeep Reddy Hanumaihgari" userId="86a9f56c-2e65-4a80-9d64-63b9c07412a6" providerId="ADAL" clId="{860CAC8F-2DFB-4EB7-8F93-2289B55B3A57}" dt="2018-01-26T05:59:34.052" v="251" actId="14100"/>
          <ac:picMkLst>
            <pc:docMk/>
            <pc:sldMk cId="343234650" sldId="306"/>
            <ac:picMk id="4" creationId="{EB1E3803-C893-40F6-A94C-35D90C392CE9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6T05:52:38.945" v="222" actId="1076"/>
        <pc:sldMkLst>
          <pc:docMk/>
          <pc:sldMk cId="2700762191" sldId="307"/>
        </pc:sldMkLst>
        <pc:spChg chg="mod">
          <ac:chgData name="Sandeep Reddy Hanumaihgari" userId="86a9f56c-2e65-4a80-9d64-63b9c07412a6" providerId="ADAL" clId="{860CAC8F-2DFB-4EB7-8F93-2289B55B3A57}" dt="2018-01-20T10:32:26.860" v="147" actId="20577"/>
          <ac:spMkLst>
            <pc:docMk/>
            <pc:sldMk cId="2700762191" sldId="307"/>
            <ac:spMk id="2" creationId="{989A156A-87D6-4E87-9C4D-A3CE67BEF9DF}"/>
          </ac:spMkLst>
        </pc:spChg>
        <pc:spChg chg="del">
          <ac:chgData name="Sandeep Reddy Hanumaihgari" userId="86a9f56c-2e65-4a80-9d64-63b9c07412a6" providerId="ADAL" clId="{860CAC8F-2DFB-4EB7-8F93-2289B55B3A57}" dt="2018-01-20T10:32:11.513" v="133" actId="1076"/>
          <ac:spMkLst>
            <pc:docMk/>
            <pc:sldMk cId="2700762191" sldId="307"/>
            <ac:spMk id="3" creationId="{9C1D26B3-3F1F-448C-A650-17B9C73EA71E}"/>
          </ac:spMkLst>
        </pc:spChg>
        <pc:picChg chg="add mod">
          <ac:chgData name="Sandeep Reddy Hanumaihgari" userId="86a9f56c-2e65-4a80-9d64-63b9c07412a6" providerId="ADAL" clId="{860CAC8F-2DFB-4EB7-8F93-2289B55B3A57}" dt="2018-01-20T10:34:05.654" v="164" actId="1076"/>
          <ac:picMkLst>
            <pc:docMk/>
            <pc:sldMk cId="2700762191" sldId="307"/>
            <ac:picMk id="4" creationId="{34F4B424-303E-48AD-9D98-491C41830942}"/>
          </ac:picMkLst>
        </pc:picChg>
        <pc:picChg chg="add mod">
          <ac:chgData name="Sandeep Reddy Hanumaihgari" userId="86a9f56c-2e65-4a80-9d64-63b9c07412a6" providerId="ADAL" clId="{860CAC8F-2DFB-4EB7-8F93-2289B55B3A57}" dt="2018-01-26T05:52:38.945" v="222" actId="1076"/>
          <ac:picMkLst>
            <pc:docMk/>
            <pc:sldMk cId="2700762191" sldId="307"/>
            <ac:picMk id="5" creationId="{1D5206AB-F780-47D0-B571-1553291BE229}"/>
          </ac:picMkLst>
        </pc:picChg>
        <pc:picChg chg="add mod">
          <ac:chgData name="Sandeep Reddy Hanumaihgari" userId="86a9f56c-2e65-4a80-9d64-63b9c07412a6" providerId="ADAL" clId="{860CAC8F-2DFB-4EB7-8F93-2289B55B3A57}" dt="2018-01-20T10:34:07.051" v="165" actId="1076"/>
          <ac:picMkLst>
            <pc:docMk/>
            <pc:sldMk cId="2700762191" sldId="307"/>
            <ac:picMk id="6" creationId="{EEA62DC6-5DC4-48C1-A59C-B28AAFB478DF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6T06:05:43.224" v="276" actId="113"/>
        <pc:sldMkLst>
          <pc:docMk/>
          <pc:sldMk cId="1124605397" sldId="308"/>
        </pc:sldMkLst>
        <pc:spChg chg="mod">
          <ac:chgData name="Sandeep Reddy Hanumaihgari" userId="86a9f56c-2e65-4a80-9d64-63b9c07412a6" providerId="ADAL" clId="{860CAC8F-2DFB-4EB7-8F93-2289B55B3A57}" dt="2018-01-20T10:35:06.273" v="170" actId="1076"/>
          <ac:spMkLst>
            <pc:docMk/>
            <pc:sldMk cId="1124605397" sldId="308"/>
            <ac:spMk id="2" creationId="{CB916CF1-6AA4-4F45-A49C-24A3ECD68FFE}"/>
          </ac:spMkLst>
        </pc:spChg>
        <pc:spChg chg="add mod">
          <ac:chgData name="Sandeep Reddy Hanumaihgari" userId="86a9f56c-2e65-4a80-9d64-63b9c07412a6" providerId="ADAL" clId="{860CAC8F-2DFB-4EB7-8F93-2289B55B3A57}" dt="2018-01-26T06:05:43.224" v="276" actId="113"/>
          <ac:spMkLst>
            <pc:docMk/>
            <pc:sldMk cId="1124605397" sldId="308"/>
            <ac:spMk id="3" creationId="{1B867CD7-0E8D-41D8-9317-697412A3A356}"/>
          </ac:spMkLst>
        </pc:spChg>
        <pc:spChg chg="del">
          <ac:chgData name="Sandeep Reddy Hanumaihgari" userId="86a9f56c-2e65-4a80-9d64-63b9c07412a6" providerId="ADAL" clId="{860CAC8F-2DFB-4EB7-8F93-2289B55B3A57}" dt="2018-01-20T10:35:20.352" v="171" actId="1076"/>
          <ac:spMkLst>
            <pc:docMk/>
            <pc:sldMk cId="1124605397" sldId="308"/>
            <ac:spMk id="3" creationId="{854AA7AD-5968-4CE1-8D0A-BE2DEE82FC9F}"/>
          </ac:spMkLst>
        </pc:spChg>
        <pc:picChg chg="add mod">
          <ac:chgData name="Sandeep Reddy Hanumaihgari" userId="86a9f56c-2e65-4a80-9d64-63b9c07412a6" providerId="ADAL" clId="{860CAC8F-2DFB-4EB7-8F93-2289B55B3A57}" dt="2018-01-26T06:04:33.759" v="255" actId="1076"/>
          <ac:picMkLst>
            <pc:docMk/>
            <pc:sldMk cId="1124605397" sldId="308"/>
            <ac:picMk id="4" creationId="{CBE0CA47-CC1F-46FC-A40D-27ADE37CB288}"/>
          </ac:picMkLst>
        </pc:picChg>
      </pc:sldChg>
      <pc:sldChg chg="addSp delSp modSp add">
        <pc:chgData name="Sandeep Reddy Hanumaihgari" userId="86a9f56c-2e65-4a80-9d64-63b9c07412a6" providerId="ADAL" clId="{860CAC8F-2DFB-4EB7-8F93-2289B55B3A57}" dt="2018-01-20T10:36:33.049" v="176" actId="1076"/>
        <pc:sldMkLst>
          <pc:docMk/>
          <pc:sldMk cId="235183311" sldId="309"/>
        </pc:sldMkLst>
        <pc:spChg chg="mod">
          <ac:chgData name="Sandeep Reddy Hanumaihgari" userId="86a9f56c-2e65-4a80-9d64-63b9c07412a6" providerId="ADAL" clId="{860CAC8F-2DFB-4EB7-8F93-2289B55B3A57}" dt="2018-01-20T10:36:19.446" v="174" actId="1076"/>
          <ac:spMkLst>
            <pc:docMk/>
            <pc:sldMk cId="235183311" sldId="309"/>
            <ac:spMk id="2" creationId="{6FA17A58-B150-4728-9DE3-710515EFA5AE}"/>
          </ac:spMkLst>
        </pc:spChg>
        <pc:spChg chg="del">
          <ac:chgData name="Sandeep Reddy Hanumaihgari" userId="86a9f56c-2e65-4a80-9d64-63b9c07412a6" providerId="ADAL" clId="{860CAC8F-2DFB-4EB7-8F93-2289B55B3A57}" dt="2018-01-20T10:36:30.991" v="175" actId="1076"/>
          <ac:spMkLst>
            <pc:docMk/>
            <pc:sldMk cId="235183311" sldId="309"/>
            <ac:spMk id="3" creationId="{B81566E0-AAC2-4E45-87F9-6098E1A0E00C}"/>
          </ac:spMkLst>
        </pc:spChg>
        <pc:picChg chg="add mod">
          <ac:chgData name="Sandeep Reddy Hanumaihgari" userId="86a9f56c-2e65-4a80-9d64-63b9c07412a6" providerId="ADAL" clId="{860CAC8F-2DFB-4EB7-8F93-2289B55B3A57}" dt="2018-01-20T10:36:33.049" v="176" actId="1076"/>
          <ac:picMkLst>
            <pc:docMk/>
            <pc:sldMk cId="235183311" sldId="309"/>
            <ac:picMk id="4" creationId="{F1492CCA-30A7-4504-966D-22C15929C5C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9A268-BC20-4C4B-AD49-13C7E7892CCC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614D3-19B3-4C34-9035-E38A193485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5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4"/>
            <a:ext cx="2971800" cy="457200"/>
          </a:xfrm>
          <a:prstGeom prst="rect">
            <a:avLst/>
          </a:prstGeom>
        </p:spPr>
        <p:txBody>
          <a:bodyPr/>
          <a:lstStyle/>
          <a:p>
            <a:fld id="{269BF997-9B5F-4A82-AF31-6E87F25749B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360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63B73-1F3F-48A1-868B-556C9EBE01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1542A6-BC5D-406C-BE1E-844BBBE4D4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6E802A-AAAE-4137-A3EC-78A795EA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810E1-EA93-4156-9E4F-516D85C61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18669-54D8-4FA7-AC03-4711395A8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10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80569-26CD-4E48-AB8F-C8D393C56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DBDF74-D7DD-4F74-8204-768D6D8C8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EE0E80-DE55-4227-8F22-8B46CC3313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D90D3-5DB1-4E46-965A-43DE2A1AD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7E9E31-07F6-4BA3-89E4-4406CB6F4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08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FB4F80-033E-40D6-8EB5-E065B96887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3FA981-8292-42BE-B5C1-A1E25890D7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2BE0CF-2BE4-4B92-BEC3-5CF0BDF96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738A02-307F-4A5A-BA7D-F53437CEE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FE8E8-723C-4492-8FB7-5544427AE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567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705" y="1604798"/>
            <a:ext cx="11079128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4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908" y="3094328"/>
            <a:ext cx="11082925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5082424" y="6195793"/>
            <a:ext cx="2027152" cy="29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9170"/>
            <a:r>
              <a:rPr lang="en-US" sz="110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  <a:endParaRPr lang="en-US" sz="11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02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000" y="1396812"/>
            <a:ext cx="6600000" cy="1470025"/>
          </a:xfrm>
        </p:spPr>
        <p:txBody>
          <a:bodyPr anchor="t" anchorCtr="0">
            <a:noAutofit/>
          </a:bodyPr>
          <a:lstStyle>
            <a:lvl1pPr>
              <a:defRPr sz="41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8000" y="2955600"/>
            <a:ext cx="6600000" cy="1486800"/>
          </a:xfrm>
        </p:spPr>
        <p:txBody>
          <a:bodyPr>
            <a:noAutofit/>
          </a:bodyPr>
          <a:lstStyle>
            <a:lvl1pPr marL="0" indent="0" algn="l">
              <a:buNone/>
              <a:defRPr sz="2700" b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</a:t>
            </a:r>
            <a:r>
              <a:rPr lang="nl-NL" sz="16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-mm-</a:t>
            </a:r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3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asic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38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No 2nd top lin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00" y="378000"/>
            <a:ext cx="11655040" cy="75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200" y="1124744"/>
            <a:ext cx="11664000" cy="49628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9301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43125" y="1124744"/>
            <a:ext cx="6312000" cy="12456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2" name="AddNotifier#1"/>
          <p:cNvSpPr txBox="1">
            <a:spLocks noChangeArrowheads="1"/>
          </p:cNvSpPr>
          <p:nvPr userDrawn="1"/>
        </p:nvSpPr>
        <p:spPr bwMode="auto">
          <a:xfrm>
            <a:off x="2918917" y="3166337"/>
            <a:ext cx="6312000" cy="148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6" tIns="60948" rIns="121896" bIns="60948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nsulting, Atos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5. © 2015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sp>
        <p:nvSpPr>
          <p:cNvPr id="7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-mm-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AddClassification"/>
          <p:cNvSpPr txBox="1">
            <a:spLocks noChangeArrowheads="1"/>
          </p:cNvSpPr>
          <p:nvPr userDrawn="1"/>
        </p:nvSpPr>
        <p:spPr bwMode="auto">
          <a:xfrm>
            <a:off x="4870315" y="6386411"/>
            <a:ext cx="2409208" cy="328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96" tIns="60948" rIns="121896" bIns="6094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425212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4F4AC-E648-434F-BEDB-346C6DBF9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312F3D-B04D-4F29-80F1-0837DC278F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8322C-9794-48D1-A122-5BFD30DD0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ECFE6F-FAAA-4B59-BBF9-67A117559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FF35E-BA32-4430-8147-FABE21F0D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5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A721F-979D-4E0A-969B-7BB719E37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0F2DCB-7440-4EFE-84FD-C5B145200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9ACA7C-2459-464A-91EB-8BD8D435E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82BCB3-0A02-4EF7-B31F-717F56208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A4E46-7117-4D66-868F-0C98B7A07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32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3B745-55E6-46E8-A9C1-1D98F55C4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B1F58C-8AE0-467A-998D-E3674FEEAC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0C3FB9-B5F5-4E9A-A17A-B5D6D4D932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147810-B2A7-4D3B-A423-C016E19B1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82A90-1D5F-4C48-B548-158C650F0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D40744-9B09-41CF-8B15-03637B1E3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51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97563-4482-4574-830B-35EECC306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71EB2-9F73-4E58-9B70-1E050A354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1C5A2C-F538-4D22-98A9-44D27C369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E44E8-930C-40B0-835A-0A5C05D1F3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C8BB31-4C2B-4D50-8EB0-CF37B702BB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F99087-D002-4FE9-B555-9E2DC5690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5234BA-58AC-4B2A-810E-78129A0FA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C9DCA1-C6F2-4CF8-AD8A-7151584BD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720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21152-6F5D-4953-9548-73735ECF3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0916F0-D4AD-4E4E-B6B4-3A6A6BAC6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95BE9-D92C-4FE0-AFA4-E1A698F15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98B18E-5C3A-48C0-96B0-9B54BCBC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958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5E6C72-7166-4CA2-BC9E-C452D7AB67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2E8DAF-2365-48A4-8150-C5BCAF10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2120AC-937E-4B78-B520-3A8707C5B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83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3DD97-A677-45A3-AD27-50F3B7686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9FAE0-B897-45AD-B735-9875E0B572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5F4331-14A5-4906-B535-11DFC7BB87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15BE19-62C1-4201-BE5A-06A040EF4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D9B403-FD2B-4AAB-A35A-3D5E1168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1C00C-92D0-4167-83E0-D6C96287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998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9E95F-F2A1-41BB-8B65-1CBC83EF7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00368E-6900-484E-8EE4-2022CE8B6F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11AFA-F4D4-4382-89A4-1033B93774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A79854-9770-4B55-9842-F704E5A9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6E9529-00BE-434D-88DD-255B69E73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C066D-5495-4B44-B716-BD7D06054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47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3447FF-3495-4E79-BFE3-BFEE93C4F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63DAE0-3EFD-48A2-9700-FE7CE93A8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952D2-743E-4B8A-A3A7-F3C054AA24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C3202-D806-4596-B738-5EFF906A959D}" type="datetimeFigureOut">
              <a:rPr lang="en-US" smtClean="0"/>
              <a:t>1/29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4BA33-A220-4C6F-97D3-EC5A351B9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C0680-4F5F-4D3E-8B9C-72D97FCC6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2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/>
          <p:nvPr/>
        </p:nvSpPr>
        <p:spPr>
          <a:xfrm>
            <a:off x="254403" y="6259454"/>
            <a:ext cx="2088024" cy="323141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en-US" sz="13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© Atos - Confidentia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600" y="312000"/>
            <a:ext cx="11664000" cy="756000"/>
          </a:xfrm>
          <a:prstGeom prst="rect">
            <a:avLst/>
          </a:prstGeom>
        </p:spPr>
        <p:txBody>
          <a:bodyPr vert="horz" lIns="121896" tIns="60948" rIns="121896" bIns="60948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" y="1454400"/>
            <a:ext cx="11664000" cy="4633200"/>
          </a:xfrm>
          <a:prstGeom prst="rect">
            <a:avLst/>
          </a:prstGeom>
        </p:spPr>
        <p:txBody>
          <a:bodyPr vert="horz" lIns="121896" tIns="60948" rIns="121896" bIns="60948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085894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893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59926" indent="-359926" algn="l" defTabSz="121893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19839" indent="-359926" algn="l" defTabSz="1218930" rtl="0" eaLnBrk="1" latinLnBrk="0" hangingPunct="1">
        <a:spcBef>
          <a:spcPts val="512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079760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39676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799602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35204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12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97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36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9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92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8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6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5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b="0" dirty="0"/>
            </a:br>
            <a:r>
              <a:rPr lang="en-US" b="0" dirty="0"/>
              <a:t> </a:t>
            </a:r>
            <a:r>
              <a:rPr lang="en-US" dirty="0"/>
              <a:t>SAP HANA Multitenant Database Containers (MDC)</a:t>
            </a:r>
            <a:r>
              <a:rPr lang="en-US" b="0" dirty="0"/>
              <a:t>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71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0352BA-8654-4F0E-A208-B35739F57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oss-Tenant Database </a:t>
            </a:r>
            <a:r>
              <a:rPr lang="en-US" b="0" dirty="0"/>
              <a:t>Access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290F06E-9B96-42EB-98C4-B935DB5ABB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sz="1400" dirty="0"/>
              <a:t>A user in one database can run a query that references objects in another database if the user is associated with a sufficiently privileged user in the remote database. This associated user is called a remote identity. This is the user who executes the query (or part of the query) in the remote database and therefore the user whose authorization is checked.</a:t>
            </a:r>
          </a:p>
          <a:p>
            <a:pPr marL="0" indent="0">
              <a:buNone/>
            </a:pPr>
            <a:endParaRPr lang="en-IN" sz="1400" dirty="0"/>
          </a:p>
          <a:p>
            <a:pPr marL="0" indent="0">
              <a:buNone/>
            </a:pPr>
            <a:r>
              <a:rPr lang="en-IN" sz="1400" dirty="0"/>
              <a:t>Cross-database access is not enabled by default and must be configured before such user mappings can be set up.</a:t>
            </a:r>
          </a:p>
          <a:p>
            <a:pPr marL="0" indent="0">
              <a:buNone/>
            </a:pPr>
            <a:endParaRPr lang="en-IN" sz="1400" dirty="0"/>
          </a:p>
          <a:p>
            <a:pPr marL="0" indent="0">
              <a:buNone/>
            </a:pPr>
            <a:r>
              <a:rPr lang="en-IN" sz="1400" dirty="0"/>
              <a:t>By default cross database access between tenants is inactive. </a:t>
            </a:r>
          </a:p>
          <a:p>
            <a:pPr marL="0" indent="0">
              <a:buNone/>
            </a:pPr>
            <a:r>
              <a:rPr lang="en-IN" sz="1400" dirty="0"/>
              <a:t>To be able to run queries spanning multiple tenant databases </a:t>
            </a:r>
          </a:p>
          <a:p>
            <a:pPr marL="0" indent="0">
              <a:buNone/>
            </a:pPr>
            <a:r>
              <a:rPr lang="en-IN" sz="1400" dirty="0"/>
              <a:t>the global cross database access switch has to be turned </a:t>
            </a:r>
            <a:r>
              <a:rPr lang="en-US" sz="1400" dirty="0"/>
              <a:t>o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3DA812-C14A-41CC-ACA4-B3E82A1BB0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816540"/>
            <a:ext cx="5412282" cy="3271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0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316A44-C371-40CE-B826-6F041DBB1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Isolation of a Tenant Databas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6A6F20-5D9C-4043-8E1B-5283F93400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5730" y="1410730"/>
            <a:ext cx="6017693" cy="4669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10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6B9367-9A00-4AF3-8359-24E8F1A0B2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mproved Monitoring and Supportability Multitenant Database Containers: Administration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F3B2BE9-F54F-4862-B38E-288B549EEB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66933" y="1452809"/>
            <a:ext cx="9733333" cy="395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98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6AEAB-B75D-40B3-A3FD-8336BB608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mproved Monitoring and Supportability SAP HANA Multitenant Database Containers: Administration Tools 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9F38CF0-F325-4821-913E-CD8D172A92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3262" y="1454150"/>
            <a:ext cx="10611489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03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8E063-9709-48B5-9C5B-EE9EFE7F5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gration to a Tenant Database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E3CA4A3-E152-4D3E-AE88-C7B2344403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76643" y="1411620"/>
            <a:ext cx="10313914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70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5178AB-9BDB-4AC6-9F80-14EEFF5DF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acking up a Tenant Database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FCA6A91-FCB7-4358-B167-999F45C4E6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72119" y="1315927"/>
            <a:ext cx="10722961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58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90C6EB-5E67-4583-924E-20339CB42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ewing Backup Informatio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05F2DC6-B672-4FF7-8AA9-E987BE91AF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2902" y="1337192"/>
            <a:ext cx="10777359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79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CFA11-1C59-4B31-8C66-8F2E5458E6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ing a Tenant Database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5B3FFFE-EC3A-40F4-B23D-6095C6C506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0222" y="1454150"/>
            <a:ext cx="11431556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043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42F0C-DE1F-4932-80D3-FBEE07409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nnecting to Tenant Databases – Port Coverage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B1E3803-C893-40F6-A94C-35D90C392C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3363" y="1337192"/>
            <a:ext cx="7214488" cy="322822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A02D0EF-9150-4813-976B-185685D05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8340" y="1890308"/>
            <a:ext cx="5057143" cy="41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A156A-87D6-4E87-9C4D-A3CE67BEF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nant Database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4F4B424-303E-48AD-9D98-491C418309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9829" y="1264895"/>
            <a:ext cx="7193189" cy="22873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D5206AB-F780-47D0-B571-1553291BE2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2644" y="1264895"/>
            <a:ext cx="3184738" cy="255009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EA62DC6-5DC4-48C1-A59C-B28AAFB478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829" y="3749164"/>
            <a:ext cx="9205963" cy="249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76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3A253-B9FA-46D5-9A49-9C7789DF8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tenancy - 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BDCA5B-6659-4C46-9504-96A5DADE5B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sz="2400" dirty="0"/>
              <a:t>SAP HANA multitenant database containers establishes a foundation for providing multitenancy in SAP HANA </a:t>
            </a:r>
          </a:p>
          <a:p>
            <a:endParaRPr lang="en-IN" dirty="0"/>
          </a:p>
          <a:p>
            <a:pPr marL="0" indent="0">
              <a:buNone/>
            </a:pPr>
            <a:r>
              <a:rPr lang="en-IN" b="1" dirty="0"/>
              <a:t>Multitenancy</a:t>
            </a:r>
            <a:r>
              <a:rPr lang="en-IN" dirty="0"/>
              <a:t> refers to a principle in software architecture where a single instance of the software runs on a server, serving multiple tenants. A tenant is a group of users sharing the same view on a software they use. With a multitenant architecture, a software application is designed to provide every tenant a dedicated share of the instance including its data, configuration, user management, tenant individual functionality and non-functional properties. Multitenancy contrasts with multi-instance architectures where separate software instances operate on behalf of different tenants. From http://en.wikipedia.org/wiki/Multitenan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022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16CF1-6AA4-4F45-A49C-24A3ECD68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Monitoring - View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BE0CA47-CC1F-46FC-A40D-27ADE37CB2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9572" y="1284029"/>
            <a:ext cx="9858316" cy="401153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B867CD7-0E8D-41D8-9317-697412A3A356}"/>
              </a:ext>
            </a:extLst>
          </p:cNvPr>
          <p:cNvSpPr/>
          <p:nvPr/>
        </p:nvSpPr>
        <p:spPr>
          <a:xfrm>
            <a:off x="338897" y="5300051"/>
            <a:ext cx="113894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/>
              <a:t>In a system with multitenant database containers, the trace files of the system database are stored at the default location: </a:t>
            </a:r>
            <a:r>
              <a:rPr lang="en-IN" sz="1400" b="1" dirty="0"/>
              <a:t>/</a:t>
            </a:r>
            <a:r>
              <a:rPr lang="en-IN" sz="1400" b="1" dirty="0" err="1"/>
              <a:t>usr</a:t>
            </a:r>
            <a:r>
              <a:rPr lang="en-IN" sz="1400" b="1" dirty="0"/>
              <a:t>/ sap/&lt;SID&gt;/HDB&lt;instance&gt;/&lt;host&gt; /trace</a:t>
            </a:r>
          </a:p>
          <a:p>
            <a:r>
              <a:rPr lang="en-IN" sz="1400" dirty="0"/>
              <a:t>Trace files of tenant databases are stored in a sub-directory named </a:t>
            </a:r>
            <a:r>
              <a:rPr lang="en-IN" sz="1400" b="1" dirty="0"/>
              <a:t>DB_&lt;</a:t>
            </a:r>
            <a:r>
              <a:rPr lang="en-IN" sz="1400" b="1" dirty="0" err="1"/>
              <a:t>dbname</a:t>
            </a:r>
            <a:r>
              <a:rPr lang="en-IN" sz="1400" b="1" dirty="0"/>
              <a:t>&gt;.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12460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A17A58-B150-4728-9DE3-710515EFA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1492CCA-30A7-4504-966D-22C15929C5C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96000" y="1461128"/>
            <a:ext cx="6800000" cy="442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8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6E14D-BCE9-4814-B78B-415DBB7C4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AP HANA Deployment Scenario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B38972F-2437-48AE-A574-0A61E03319E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9314" y="1425577"/>
            <a:ext cx="10628571" cy="44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16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BEA24-B265-4BA0-B8BA-F61D6D380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Applications on One SAP HANA system </a:t>
            </a:r>
            <a:br>
              <a:rPr lang="en-US" dirty="0"/>
            </a:br>
            <a:r>
              <a:rPr lang="en-US" dirty="0"/>
              <a:t>Multiple Components One Database (MCOD)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C27171B-5060-441C-BD2F-341496D19A4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1650" y="1347824"/>
            <a:ext cx="11288700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519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098E90-21B3-48E8-B6D9-1AF09F734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everal Databases on One SAP HANA System </a:t>
            </a:r>
            <a:br>
              <a:rPr lang="en-IN" dirty="0"/>
            </a:br>
            <a:r>
              <a:rPr lang="en-IN" dirty="0"/>
              <a:t>Multiple Components One System (MCOS)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9EDE1FE-0829-4B78-9B6B-F86F13DD76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7785" y="1411620"/>
            <a:ext cx="10916429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43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7D9DD-E35D-4585-A432-B41A71809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virtualized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26808D8-F55F-4BE4-AA00-AC0C0A585F7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54320" y="1400987"/>
            <a:ext cx="10283359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8F946-A6D5-43C1-9487-B94BE03D0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multitenant database containers </a:t>
            </a:r>
            <a:br>
              <a:rPr lang="en-US" dirty="0"/>
            </a:br>
            <a:r>
              <a:rPr lang="en-US" dirty="0"/>
              <a:t>Concept and Terminolog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60969F9-CCB0-4A54-AA67-A3B1687474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6000" y="1545407"/>
            <a:ext cx="11600000" cy="43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36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A6F2F-1A5C-4755-AE4C-CFE315FA3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AP HANA Multitenant database container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E90FA2E-5BC3-413A-84D9-B0E080F7EA3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6952" y="1451604"/>
            <a:ext cx="11638095" cy="444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710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E1F643-734F-43FE-BB07-9D0ABA001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multitenant database containers </a:t>
            </a:r>
            <a:br>
              <a:rPr lang="en-US" dirty="0"/>
            </a:br>
            <a:r>
              <a:rPr lang="en-US" dirty="0"/>
              <a:t>User and Administration Layer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D67F828-E73F-479C-BD47-87DEE3BF28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8280" y="1422253"/>
            <a:ext cx="10915440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676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-Atos_Widescreen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FBFB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8</TotalTime>
  <Words>391</Words>
  <PresentationFormat>Widescreen</PresentationFormat>
  <Paragraphs>34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Calibri Light</vt:lpstr>
      <vt:lpstr>Lucida Sans Unicode</vt:lpstr>
      <vt:lpstr>Verdana</vt:lpstr>
      <vt:lpstr>Office Theme</vt:lpstr>
      <vt:lpstr>PPT-Atos_Widescreen</vt:lpstr>
      <vt:lpstr>think-cell Slide</vt:lpstr>
      <vt:lpstr>  SAP HANA Multitenant Database Containers (MDC) </vt:lpstr>
      <vt:lpstr>Multitenancy - Introduction</vt:lpstr>
      <vt:lpstr>Standard SAP HANA Deployment Scenario</vt:lpstr>
      <vt:lpstr>Multiple Applications on One SAP HANA system  Multiple Components One Database (MCOD)</vt:lpstr>
      <vt:lpstr>Several Databases on One SAP HANA System  Multiple Components One System (MCOS)</vt:lpstr>
      <vt:lpstr>SAP HANA virtualized</vt:lpstr>
      <vt:lpstr>SAP HANA multitenant database containers  Concept and Terminology</vt:lpstr>
      <vt:lpstr>SAP HANA Multitenant database containers</vt:lpstr>
      <vt:lpstr>SAP HANA multitenant database containers  User and Administration Layers</vt:lpstr>
      <vt:lpstr>Cross-Tenant Database Access</vt:lpstr>
      <vt:lpstr>Isolation of a Tenant Database</vt:lpstr>
      <vt:lpstr>Improved Monitoring and Supportability Multitenant Database Containers: Administration</vt:lpstr>
      <vt:lpstr>Improved Monitoring and Supportability SAP HANA Multitenant Database Containers: Administration Tools </vt:lpstr>
      <vt:lpstr>Migration to a Tenant Database </vt:lpstr>
      <vt:lpstr>Backing up a Tenant Database</vt:lpstr>
      <vt:lpstr>Viewing Backup Information</vt:lpstr>
      <vt:lpstr>Recovering a Tenant Database </vt:lpstr>
      <vt:lpstr>Connecting to Tenant Databases – Port Coverage</vt:lpstr>
      <vt:lpstr>Tenant Databases</vt:lpstr>
      <vt:lpstr>System Monitoring - Views</vt:lpstr>
      <vt:lpstr>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10-23T12:55:41Z</dcterms:created>
  <dcterms:modified xsi:type="dcterms:W3CDTF">2018-01-29T04:41:50Z</dcterms:modified>
</cp:coreProperties>
</file>